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PS)" userId="fd3b2067-2981-4ad8-bf3a-d2e1004e4fa8" providerId="ADAL" clId="{EDA3467E-1907-449F-B01D-EA8D4508D03F}"/>
    <pc:docChg chg="modSld">
      <pc:chgData name="Weigel Stefan (PAR-EPS)" userId="fd3b2067-2981-4ad8-bf3a-d2e1004e4fa8" providerId="ADAL" clId="{EDA3467E-1907-449F-B01D-EA8D4508D03F}" dt="2025-02-24T08:18:33.003" v="4" actId="27918"/>
      <pc:docMkLst>
        <pc:docMk/>
      </pc:docMkLst>
      <pc:sldChg chg="modSp mod">
        <pc:chgData name="Weigel Stefan (PAR-EPS)" userId="fd3b2067-2981-4ad8-bf3a-d2e1004e4fa8" providerId="ADAL" clId="{EDA3467E-1907-449F-B01D-EA8D4508D03F}" dt="2025-02-24T08:18:33.003" v="4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EDA3467E-1907-449F-B01D-EA8D4508D03F}" dt="2025-02-24T08:18:24.842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Weigel Stefan (PAR-ES)" userId="fd3b2067-2981-4ad8-bf3a-d2e1004e4fa8" providerId="ADAL" clId="{BE4C7745-34C0-4ECC-A607-C603E507D7F3}"/>
    <pc:docChg chg="modSld">
      <pc:chgData name="Weigel Stefan (PAR-ES)" userId="fd3b2067-2981-4ad8-bf3a-d2e1004e4fa8" providerId="ADAL" clId="{BE4C7745-34C0-4ECC-A607-C603E507D7F3}" dt="2023-01-25T14:24:16.290" v="19" actId="692"/>
      <pc:docMkLst>
        <pc:docMk/>
      </pc:docMkLst>
      <pc:sldChg chg="modSp mod">
        <pc:chgData name="Weigel Stefan (PAR-ES)" userId="fd3b2067-2981-4ad8-bf3a-d2e1004e4fa8" providerId="ADAL" clId="{BE4C7745-34C0-4ECC-A607-C603E507D7F3}" dt="2023-01-25T14:24:16.290" v="19" actId="692"/>
        <pc:sldMkLst>
          <pc:docMk/>
          <pc:sldMk cId="2338066774" sldId="399"/>
        </pc:sldMkLst>
        <pc:spChg chg="mod">
          <ac:chgData name="Weigel Stefan (PAR-ES)" userId="fd3b2067-2981-4ad8-bf3a-d2e1004e4fa8" providerId="ADAL" clId="{BE4C7745-34C0-4ECC-A607-C603E507D7F3}" dt="2023-01-25T14:20:34.955" v="6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BE4C7745-34C0-4ECC-A607-C603E507D7F3}" dt="2023-01-25T14:20:26.238" v="4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BE4C7745-34C0-4ECC-A607-C603E507D7F3}" dt="2023-01-25T14:24:16.290" v="19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Weigel Stefan (PAR-EPS)" userId="fd3b2067-2981-4ad8-bf3a-d2e1004e4fa8" providerId="ADAL" clId="{069AB596-6A63-4F1D-A106-3F1F6EC6ACAF}"/>
    <pc:docChg chg="modSld">
      <pc:chgData name="Weigel Stefan (PAR-EPS)" userId="fd3b2067-2981-4ad8-bf3a-d2e1004e4fa8" providerId="ADAL" clId="{069AB596-6A63-4F1D-A106-3F1F6EC6ACAF}" dt="2024-01-11T16:53:01.448" v="11" actId="27918"/>
      <pc:docMkLst>
        <pc:docMk/>
      </pc:docMkLst>
      <pc:sldChg chg="mod">
        <pc:chgData name="Weigel Stefan (PAR-EPS)" userId="fd3b2067-2981-4ad8-bf3a-d2e1004e4fa8" providerId="ADAL" clId="{069AB596-6A63-4F1D-A106-3F1F6EC6ACAF}" dt="2024-01-11T16:53:01.448" v="11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238876CD-7C17-4F8B-A8B5-4FFB4B5B4210}"/>
    <pc:docChg chg="modSld">
      <pc:chgData name="Weigel Stefan (PAR-EPS)" userId="fd3b2067-2981-4ad8-bf3a-d2e1004e4fa8" providerId="ADAL" clId="{238876CD-7C17-4F8B-A8B5-4FFB4B5B4210}" dt="2024-01-10T18:55:46.065" v="15" actId="27918"/>
      <pc:docMkLst>
        <pc:docMk/>
      </pc:docMkLst>
      <pc:sldChg chg="modSp mod">
        <pc:chgData name="Weigel Stefan (PAR-EPS)" userId="fd3b2067-2981-4ad8-bf3a-d2e1004e4fa8" providerId="ADAL" clId="{238876CD-7C17-4F8B-A8B5-4FFB4B5B4210}" dt="2024-01-10T18:55:46.065" v="15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238876CD-7C17-4F8B-A8B5-4FFB4B5B4210}" dt="2024-01-10T18:51:30.44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238876CD-7C17-4F8B-A8B5-4FFB4B5B4210}" dt="2024-01-10T18:51:41" v="3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238876CD-7C17-4F8B-A8B5-4FFB4B5B4210}" dt="2024-01-10T18:51:36.557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Weigel Stefan (PAR-EPS)" userId="fd3b2067-2981-4ad8-bf3a-d2e1004e4fa8" providerId="ADAL" clId="{F145961C-C3B9-4310-B95E-21A4E2EC23EF}"/>
    <pc:docChg chg="modSld">
      <pc:chgData name="Weigel Stefan (PAR-EPS)" userId="fd3b2067-2981-4ad8-bf3a-d2e1004e4fa8" providerId="ADAL" clId="{F145961C-C3B9-4310-B95E-21A4E2EC23EF}" dt="2024-02-01T17:22:18.211" v="5" actId="27918"/>
      <pc:docMkLst>
        <pc:docMk/>
      </pc:docMkLst>
      <pc:sldChg chg="mod">
        <pc:chgData name="Weigel Stefan (PAR-EPS)" userId="fd3b2067-2981-4ad8-bf3a-d2e1004e4fa8" providerId="ADAL" clId="{F145961C-C3B9-4310-B95E-21A4E2EC23EF}" dt="2024-02-01T17:22:18.211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B5F586C7-7639-4673-8747-CC067BD8774C}"/>
    <pc:docChg chg="modSld">
      <pc:chgData name="Weigel Stefan (PAR-EPS)" userId="fd3b2067-2981-4ad8-bf3a-d2e1004e4fa8" providerId="ADAL" clId="{B5F586C7-7639-4673-8747-CC067BD8774C}" dt="2024-04-22T11:40:35.352" v="9" actId="554"/>
      <pc:docMkLst>
        <pc:docMk/>
      </pc:docMkLst>
      <pc:sldChg chg="modSp mod">
        <pc:chgData name="Weigel Stefan (PAR-EPS)" userId="fd3b2067-2981-4ad8-bf3a-d2e1004e4fa8" providerId="ADAL" clId="{B5F586C7-7639-4673-8747-CC067BD8774C}" dt="2024-04-22T11:40:35.352" v="9" actId="554"/>
        <pc:sldMkLst>
          <pc:docMk/>
          <pc:sldMk cId="2338066774" sldId="399"/>
        </pc:sldMkLst>
        <pc:spChg chg="mod">
          <ac:chgData name="Weigel Stefan (PAR-EPS)" userId="fd3b2067-2981-4ad8-bf3a-d2e1004e4fa8" providerId="ADAL" clId="{B5F586C7-7639-4673-8747-CC067BD8774C}" dt="2024-04-22T11:40:35.352" v="9" actId="554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5F586C7-7639-4673-8747-CC067BD8774C}" dt="2024-04-22T11:40:35.352" v="9" actId="554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B5F586C7-7639-4673-8747-CC067BD8774C}" dt="2024-04-22T11:40:05.280" v="4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Weigel Stefan (PAR-ES)" userId="fd3b2067-2981-4ad8-bf3a-d2e1004e4fa8" providerId="ADAL" clId="{A1A3D639-3142-44F7-B597-0CB5579B85F0}"/>
    <pc:docChg chg="modSld">
      <pc:chgData name="Weigel Stefan (PAR-ES)" userId="fd3b2067-2981-4ad8-bf3a-d2e1004e4fa8" providerId="ADAL" clId="{A1A3D639-3142-44F7-B597-0CB5579B85F0}" dt="2023-01-16T16:07:41.308" v="93" actId="20577"/>
      <pc:docMkLst>
        <pc:docMk/>
      </pc:docMkLst>
      <pc:sldChg chg="modSp mod">
        <pc:chgData name="Weigel Stefan (PAR-ES)" userId="fd3b2067-2981-4ad8-bf3a-d2e1004e4fa8" providerId="ADAL" clId="{A1A3D639-3142-44F7-B597-0CB5579B85F0}" dt="2023-01-16T16:07:41.308" v="93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A1A3D639-3142-44F7-B597-0CB5579B85F0}" dt="2023-01-16T16:07:41.308" v="9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1A3D639-3142-44F7-B597-0CB5579B85F0}" dt="2023-01-16T16:07:36.601" v="91" actId="1076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A1A3D639-3142-44F7-B597-0CB5579B85F0}" dt="2023-01-16T16:07:27.343" v="90" actId="1076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Younger than 20</c:v>
                </c:pt>
                <c:pt idx="1">
                  <c:v>20 to 24</c:v>
                </c:pt>
                <c:pt idx="2">
                  <c:v>25 to 29</c:v>
                </c:pt>
                <c:pt idx="3">
                  <c:v>30 to 34</c:v>
                </c:pt>
                <c:pt idx="4">
                  <c:v>35 to 39</c:v>
                </c:pt>
                <c:pt idx="5">
                  <c:v>40 to 44</c:v>
                </c:pt>
                <c:pt idx="6">
                  <c:v>45 to 49</c:v>
                </c:pt>
                <c:pt idx="7">
                  <c:v>50 to 54</c:v>
                </c:pt>
                <c:pt idx="8">
                  <c:v>55 to 59</c:v>
                </c:pt>
                <c:pt idx="9">
                  <c:v>60 to 64</c:v>
                </c:pt>
                <c:pt idx="10">
                  <c:v>65 and older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2</c:v>
                </c:pt>
                <c:pt idx="1">
                  <c:v>-1111</c:v>
                </c:pt>
                <c:pt idx="2">
                  <c:v>-2021</c:v>
                </c:pt>
                <c:pt idx="3">
                  <c:v>-2912</c:v>
                </c:pt>
                <c:pt idx="4">
                  <c:v>-3212</c:v>
                </c:pt>
                <c:pt idx="5">
                  <c:v>-3219</c:v>
                </c:pt>
                <c:pt idx="6">
                  <c:v>-2874</c:v>
                </c:pt>
                <c:pt idx="7">
                  <c:v>-3379</c:v>
                </c:pt>
                <c:pt idx="8">
                  <c:v>-3889</c:v>
                </c:pt>
                <c:pt idx="9">
                  <c:v>-2972</c:v>
                </c:pt>
                <c:pt idx="10">
                  <c:v>-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Younger than 20</c:v>
                </c:pt>
                <c:pt idx="1">
                  <c:v>20 to 24</c:v>
                </c:pt>
                <c:pt idx="2">
                  <c:v>25 to 29</c:v>
                </c:pt>
                <c:pt idx="3">
                  <c:v>30 to 34</c:v>
                </c:pt>
                <c:pt idx="4">
                  <c:v>35 to 39</c:v>
                </c:pt>
                <c:pt idx="5">
                  <c:v>40 to 44</c:v>
                </c:pt>
                <c:pt idx="6">
                  <c:v>45 to 49</c:v>
                </c:pt>
                <c:pt idx="7">
                  <c:v>50 to 54</c:v>
                </c:pt>
                <c:pt idx="8">
                  <c:v>55 to 59</c:v>
                </c:pt>
                <c:pt idx="9">
                  <c:v>60 to 64</c:v>
                </c:pt>
                <c:pt idx="10">
                  <c:v>65 and older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66</c:v>
                </c:pt>
                <c:pt idx="1">
                  <c:v>393</c:v>
                </c:pt>
                <c:pt idx="2">
                  <c:v>807</c:v>
                </c:pt>
                <c:pt idx="3">
                  <c:v>962</c:v>
                </c:pt>
                <c:pt idx="4">
                  <c:v>961</c:v>
                </c:pt>
                <c:pt idx="5">
                  <c:v>852</c:v>
                </c:pt>
                <c:pt idx="6">
                  <c:v>770</c:v>
                </c:pt>
                <c:pt idx="7">
                  <c:v>793</c:v>
                </c:pt>
                <c:pt idx="8">
                  <c:v>605</c:v>
                </c:pt>
                <c:pt idx="9">
                  <c:v>307</c:v>
                </c:pt>
                <c:pt idx="1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 w="6350"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5953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377274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Men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2654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58406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Women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Employees according to age in 2024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95000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7057743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dirty="0">
                <a:latin typeface="+mj-lt"/>
                <a:cs typeface="Arial" pitchFamily="34" charset="0"/>
              </a:rPr>
              <a:t>Mean annual number of employees. SBB AG and SBB Cargo Ltd (Switzerland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9983621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66C779-8175-4C98-A60D-0F74F8D3ED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mployees according to age in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loyees according to age in 2024._x000b_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5-02-24T12:5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